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59" r:id="rId1"/>
  </p:sldMasterIdLst>
  <p:notesMasterIdLst>
    <p:notesMasterId r:id="rId3"/>
  </p:notesMasterIdLst>
  <p:handoutMasterIdLst>
    <p:handoutMasterId r:id="rId4"/>
  </p:handoutMasterIdLst>
  <p:sldIdLst>
    <p:sldId id="267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489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2571A22-2F11-4B0A-BEC8-773B791BC32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4596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FZZhunYuan-M02S"/>
                          <a:ea typeface="+mn-ea"/>
                          <a:cs typeface="FZZhunYuan-M02S"/>
                        </a:rPr>
                        <a:t>在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FZZhunYuan-M02S"/>
                        </a:rPr>
                        <a:t>Series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FZZhunYuan-M02S"/>
                        </a:rPr>
                        <a:t> 2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ea typeface="+mn-ea"/>
                          <a:cs typeface="FZZhunYuan-M02S"/>
                        </a:rPr>
                        <a:t>吹瓶机上采用新型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FZZhunYuan-M02S"/>
                        </a:rPr>
                        <a:t>ECO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ea typeface="+mn-ea"/>
                          <a:cs typeface="FZZhunYuan-M02S"/>
                        </a:rPr>
                        <a:t>生态灯，至少节能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15%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cs typeface="FZZhunYuan-M02S"/>
                        </a:rPr>
                        <a:t>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提高了辐射强度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便于安装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更优化的瓶胚表面分区，提高了对瓶颈的保护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提高了工艺稳定性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石英管采用物理保护措施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加工能力保持与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cs typeface="FZZhunYuan-M02S"/>
                        </a:rPr>
                        <a:t>Universal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一致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0" dirty="0">
                        <a:solidFill>
                          <a:schemeClr val="tx1"/>
                        </a:solidFill>
                        <a:latin typeface="FZZhunYuan-M02S"/>
                        <a:ea typeface="FZZhunYuan-M02S"/>
                        <a:cs typeface="FZZhunYuan-M02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在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  <a:cs typeface="FZZhunYuan-M02S"/>
                        </a:rPr>
                        <a:t>Series 1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或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  <a:cs typeface="FZZhunYuan-M02S"/>
                        </a:rPr>
                        <a:t>Series 2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吹瓶机上结合使用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  <a:cs typeface="FZZhunYuan-M02S"/>
                        </a:rPr>
                        <a:t>ECO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生态灯与炉顶反光板，</a:t>
                      </a:r>
                      <a:r>
                        <a:rPr dirty="0"/>
                        <a:t>可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节能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30%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新型灯采用成熟技术打造，有两种高度以适应原来的渐进式间距灯架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4 - 6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只灯：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2kW 400V 19mm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间距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其他数量的灯：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2kW 400V 14mm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间距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改进了烘炉的通风控制。停机时，为快速散去累积的热量，仍会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100%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稳定通风7分钟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耗电量至少降低</a:t>
            </a:r>
            <a:r>
              <a:rPr dirty="0">
                <a:latin typeface="+mn-lt"/>
                <a:cs typeface="FZZhunYuan-M02S"/>
              </a:rPr>
              <a:t>15%</a:t>
            </a:r>
            <a:endParaRPr lang="zh-CN" b="0" dirty="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09864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latin typeface="FZZhunYuan-M02S"/>
                <a:cs typeface="FZZhunYuan-M02S"/>
              </a:rPr>
              <a:t>在</a:t>
            </a:r>
            <a:r>
              <a:rPr dirty="0">
                <a:cs typeface="FZZhunYuan-M02S"/>
              </a:rPr>
              <a:t>Series 2</a:t>
            </a:r>
            <a:r>
              <a:rPr dirty="0">
                <a:latin typeface="FZZhunYuan-M02S"/>
                <a:cs typeface="FZZhunYuan-M02S"/>
              </a:rPr>
              <a:t>吹瓶机上采用</a:t>
            </a:r>
            <a:r>
              <a:rPr dirty="0">
                <a:cs typeface="FZZhunYuan-M02S"/>
              </a:rPr>
              <a:t>ECO</a:t>
            </a:r>
            <a:r>
              <a:rPr dirty="0">
                <a:latin typeface="FZZhunYuan-M02S"/>
                <a:cs typeface="FZZhunYuan-M02S"/>
              </a:rPr>
              <a:t>生态灯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zh-CN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价值：优化成本</a:t>
            </a:r>
            <a:r>
              <a:rPr lang="fr-FR" altLang="zh-CN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, </a:t>
            </a:r>
            <a:r>
              <a:rPr lang="zh-CN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可持续发展</a:t>
            </a:r>
            <a:endParaRPr lang="fr-FR" altLang="zh-CN" sz="800" kern="0" dirty="0">
              <a:solidFill>
                <a:srgbClr val="000000"/>
              </a:solidFill>
              <a:latin typeface="FZZhunYuan-M02S"/>
              <a:cs typeface="FZZhunYuan-M02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Series 2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吹瓶机 </a:t>
            </a:r>
            <a:r>
              <a:rPr lang="zh-CN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（不包括热定型版本）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96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CE51B46F-62EE-45F7-9594-6981AD547FB3}"/>
              </a:ext>
            </a:extLst>
          </p:cNvPr>
          <p:cNvSpPr/>
          <p:nvPr/>
        </p:nvSpPr>
        <p:spPr>
          <a:xfrm>
            <a:off x="4774281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C75CDC5-2D0E-495F-97CE-1291EC280B6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7300" y="3175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766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07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FZZhunYuan-M02S</vt:lpstr>
      <vt:lpstr>Wingdings</vt:lpstr>
      <vt:lpstr>LIOMT</vt:lpstr>
      <vt:lpstr>think-cell Folie</vt:lpstr>
      <vt:lpstr>耗电量至少降低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0-11-20T11:1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3:59.124800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1:22.8075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1:22.8075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